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442" r:id="rId3"/>
    <p:sldId id="391" r:id="rId4"/>
    <p:sldId id="459" r:id="rId5"/>
    <p:sldId id="424" r:id="rId6"/>
    <p:sldId id="363" r:id="rId7"/>
    <p:sldId id="458" r:id="rId8"/>
    <p:sldId id="425" r:id="rId9"/>
    <p:sldId id="443" r:id="rId10"/>
    <p:sldId id="444" r:id="rId11"/>
    <p:sldId id="434" r:id="rId12"/>
    <p:sldId id="445" r:id="rId13"/>
    <p:sldId id="426" r:id="rId14"/>
    <p:sldId id="456" r:id="rId15"/>
    <p:sldId id="351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E6E1"/>
    <a:srgbClr val="FFCCCC"/>
    <a:srgbClr val="D8D8D8"/>
    <a:srgbClr val="FFFFFF"/>
    <a:srgbClr val="2800FF"/>
    <a:srgbClr val="00BAFF"/>
    <a:srgbClr val="00FF7D"/>
    <a:srgbClr val="00F3FF"/>
    <a:srgbClr val="FFB600"/>
    <a:srgbClr val="FFE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1" autoAdjust="0"/>
    <p:restoredTop sz="94318" autoAdjust="0"/>
  </p:normalViewPr>
  <p:slideViewPr>
    <p:cSldViewPr snapToGrid="0">
      <p:cViewPr varScale="1">
        <p:scale>
          <a:sx n="63" d="100"/>
          <a:sy n="63" d="100"/>
        </p:scale>
        <p:origin x="804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22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20" Type="http://schemas.openxmlformats.org/officeDocument/2006/relationships/viewProps" Target="viewProps.xml"/><Relationship Id="rId2" Type="http://schemas.openxmlformats.org/officeDocument/2006/relationships/theme" Target="theme/theme1.xml"/><Relationship Id="rId19" Type="http://schemas.openxmlformats.org/officeDocument/2006/relationships/presProps" Target="presProps.xml"/><Relationship Id="rId18" Type="http://schemas.openxmlformats.org/officeDocument/2006/relationships/handoutMaster" Target="handoutMasters/handoutMaster1.xml"/><Relationship Id="rId17" Type="http://schemas.openxmlformats.org/officeDocument/2006/relationships/notesMaster" Target="notesMasters/notesMaster1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3" Type="http://schemas.openxmlformats.org/officeDocument/2006/relationships/tags" Target="../tags/tag1.xm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44647"/>
            <a:ext cx="12192000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381000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/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BR" sz="1800"/>
            </a:p>
          </p:txBody>
        </p:sp>
      </p:grpSp>
      <p:grpSp>
        <p:nvGrpSpPr>
          <p:cNvPr id="3" name="Group 2"/>
          <p:cNvGrpSpPr/>
          <p:nvPr userDrawn="1"/>
        </p:nvGrpSpPr>
        <p:grpSpPr>
          <a:xfrm>
            <a:off x="3708238" y="1265653"/>
            <a:ext cx="5395287" cy="5514533"/>
            <a:chOff x="6420958" y="734291"/>
            <a:chExt cx="5395287" cy="5514533"/>
          </a:xfrm>
        </p:grpSpPr>
        <p:sp>
          <p:nvSpPr>
            <p:cNvPr id="15" name="Freeform 28"/>
            <p:cNvSpPr/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" name="Freeform 29"/>
            <p:cNvSpPr/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880">
              <a:buFont typeface="Arial" panose="020B0604020202090204" pitchFamily="34" charset="0"/>
              <a:buChar char="-"/>
              <a:defRPr/>
            </a:lvl3pPr>
            <a:lvl5pPr marL="857250" indent="-177800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880">
              <a:buFont typeface="Arial" panose="020B0604020202090204" pitchFamily="34" charset="0"/>
              <a:buChar char="-"/>
              <a:defRPr/>
            </a:lvl3pPr>
            <a:lvl5pPr marL="857250" indent="-177800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81000" y="6617410"/>
            <a:ext cx="272415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8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FDE934FF-F4E1-47C5-9CA5-30A81DDE2BE4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3561BA9-CDCF-4958-B8AB-66F3BF063E1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380999" y="6617410"/>
            <a:ext cx="272176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8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dt="0"/>
  <p:txStyles>
    <p:titleStyle>
      <a:lvl1pPr marL="0" indent="0" algn="l" defTabSz="913765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3765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9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90204" pitchFamily="34" charset="0"/>
        </a:defRPr>
      </a:lvl1pPr>
      <a:lvl2pPr marL="361950" indent="-184150" algn="l" defTabSz="91376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9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90204" pitchFamily="34" charset="0"/>
        </a:defRPr>
      </a:lvl2pPr>
      <a:lvl3pPr marL="536575" indent="-174625" algn="l" defTabSz="91376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9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90204" pitchFamily="34" charset="0"/>
        </a:defRPr>
      </a:lvl3pPr>
      <a:lvl4pPr marL="685800" indent="-171450" algn="l" defTabSz="913765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7800" algn="l" defTabSz="913765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700" indent="-17272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245" indent="0" algn="l" defTabSz="913765" rtl="0" eaLnBrk="1" latinLnBrk="0" hangingPunct="1">
        <a:lnSpc>
          <a:spcPct val="90000"/>
        </a:lnSpc>
        <a:spcBef>
          <a:spcPts val="800"/>
        </a:spcBef>
        <a:buFont typeface="Arial" panose="020B060402020209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245" indent="0" algn="l" defTabSz="91376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9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245" indent="0" algn="l" defTabSz="91376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9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 txBox="1"/>
          <p:nvPr/>
        </p:nvSpPr>
        <p:spPr>
          <a:xfrm>
            <a:off x="381000" y="3033962"/>
            <a:ext cx="11430000" cy="790075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9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  <a:lvl2pPr marL="361950" indent="-1841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9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2pPr>
            <a:lvl3pPr marL="536575" indent="-174625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9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3pPr>
            <a:lvl4pPr marL="685800" indent="-17145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indent="-17780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indent="-17272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245" indent="0" algn="l" defTabSz="913765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9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245" indent="0" algn="l" defTabSz="9137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9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245" indent="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90204" pitchFamily="34" charset="0"/>
              <a:buNone/>
            </a:pPr>
            <a:r>
              <a:rPr lang="en-US" sz="54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Mean stack</a:t>
            </a:r>
            <a:endParaRPr lang="en-US" sz="5400" cap="all" dirty="0">
              <a:solidFill>
                <a:schemeClr val="bg1"/>
              </a:solidFill>
              <a:latin typeface="Graphik Black" panose="020B0A03030202060203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389760" y="1160210"/>
            <a:ext cx="4745600" cy="4695699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090930"/>
            <a:ext cx="11429999" cy="1499870"/>
          </a:xfrm>
        </p:spPr>
        <p:txBody>
          <a:bodyPr/>
          <a:lstStyle/>
          <a:p>
            <a:r>
              <a:rPr lang="en-US"/>
              <a:t>The Router-Outlet is a directive exported by RouterModule and acts as a placeholder that indicates to the router where it needs to insert the matched component(s).</a:t>
            </a:r>
            <a:br>
              <a:rPr lang="en-US"/>
            </a:br>
            <a:endParaRPr lang="en-US"/>
          </a:p>
          <a:p>
            <a:r>
              <a:rPr lang="en-US"/>
              <a:t>This is a palaceholder in the main template where we indicate where angular should load the active routes.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Router Outlet</a:t>
            </a:r>
            <a:endParaRPr lang="en-US">
              <a:sym typeface="+mn-ea"/>
            </a:endParaRPr>
          </a:p>
        </p:txBody>
      </p:sp>
      <p:sp>
        <p:nvSpPr>
          <p:cNvPr id="4" name="Text Box 3"/>
          <p:cNvSpPr txBox="1"/>
          <p:nvPr/>
        </p:nvSpPr>
        <p:spPr>
          <a:xfrm>
            <a:off x="2315210" y="3448685"/>
            <a:ext cx="6851650" cy="4425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indent="0" algn="l">
              <a:lnSpc>
                <a:spcPct val="90000"/>
              </a:lnSpc>
              <a:spcBef>
                <a:spcPts val="300"/>
              </a:spcBef>
              <a:buFont typeface="Arial" panose="020B0604020202090204" pitchFamily="34" charset="0"/>
              <a:buNone/>
            </a:pP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router-outlet&gt; &lt;/router-outlet&gt;</a:t>
            </a:r>
            <a:endParaRPr lang="en-US" sz="32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170940"/>
            <a:ext cx="11429999" cy="553720"/>
          </a:xfrm>
        </p:spPr>
        <p:txBody>
          <a:bodyPr/>
          <a:lstStyle/>
          <a:p>
            <a:r>
              <a:rPr lang="en-US"/>
              <a:t>A Router Link is a directive which angular routing used to convert a regular link into angular routing link.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Creating Router links in Angular</a:t>
            </a:r>
            <a:br>
              <a:rPr lang="en-US"/>
            </a:br>
            <a:endParaRPr lang="en-US">
              <a:sym typeface="+mn-ea"/>
            </a:endParaRPr>
          </a:p>
        </p:txBody>
      </p:sp>
      <p:sp>
        <p:nvSpPr>
          <p:cNvPr id="4" name="Text Box 3"/>
          <p:cNvSpPr txBox="1"/>
          <p:nvPr/>
        </p:nvSpPr>
        <p:spPr>
          <a:xfrm>
            <a:off x="891540" y="2459990"/>
            <a:ext cx="10006965" cy="4425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indent="0" algn="l">
              <a:lnSpc>
                <a:spcPct val="90000"/>
              </a:lnSpc>
              <a:spcBef>
                <a:spcPts val="300"/>
              </a:spcBef>
              <a:buFont typeface="Arial" panose="020B0604020202090204" pitchFamily="34" charset="0"/>
              <a:buNone/>
            </a:pP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a routerLink=" "&gt;My Link&lt;/a&gt;</a:t>
            </a:r>
            <a:endParaRPr lang="en-US" sz="32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5" name="Text Box 4"/>
          <p:cNvSpPr txBox="1"/>
          <p:nvPr/>
        </p:nvSpPr>
        <p:spPr>
          <a:xfrm>
            <a:off x="836930" y="3594100"/>
            <a:ext cx="10006965" cy="4425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indent="0" algn="l">
              <a:lnSpc>
                <a:spcPct val="90000"/>
              </a:lnSpc>
              <a:spcBef>
                <a:spcPts val="300"/>
              </a:spcBef>
              <a:buFont typeface="Arial" panose="020B0604020202090204" pitchFamily="34" charset="0"/>
              <a:buNone/>
            </a:pP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a routerLink="/</a:t>
            </a: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sym typeface="+mn-ea"/>
              </a:rPr>
              <a:t>pathA</a:t>
            </a: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"&gt;My Other Link&lt;/a&gt;</a:t>
            </a:r>
            <a:endParaRPr lang="en-US" sz="32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346835"/>
            <a:ext cx="11429999" cy="1223010"/>
          </a:xfrm>
        </p:spPr>
        <p:txBody>
          <a:bodyPr/>
          <a:lstStyle/>
          <a:p>
            <a:r>
              <a:rPr lang="en-US"/>
              <a:t>The RouterLinkActive is a directive which can be used to detect the currently active route.</a:t>
            </a:r>
            <a:br>
              <a:rPr lang="en-US"/>
            </a:br>
            <a:endParaRPr lang="en-US"/>
          </a:p>
          <a:p>
            <a:r>
              <a:rPr lang="en-US"/>
              <a:t>It takes in a css class and use the styling defined to highlight the link when the route defined for the link is currently active.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routerLinkActive</a:t>
            </a:r>
            <a:endParaRPr lang="en-US">
              <a:sym typeface="+mn-ea"/>
            </a:endParaRPr>
          </a:p>
        </p:txBody>
      </p:sp>
      <p:sp>
        <p:nvSpPr>
          <p:cNvPr id="4" name="Text Box 3"/>
          <p:cNvSpPr txBox="1"/>
          <p:nvPr/>
        </p:nvSpPr>
        <p:spPr>
          <a:xfrm>
            <a:off x="502285" y="3128645"/>
            <a:ext cx="11309350" cy="92456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indent="0" algn="l">
              <a:lnSpc>
                <a:spcPct val="90000"/>
              </a:lnSpc>
              <a:spcBef>
                <a:spcPts val="300"/>
              </a:spcBef>
              <a:buFont typeface="Arial" panose="020B0604020202090204" pitchFamily="34" charset="0"/>
              <a:buNone/>
            </a:pP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a routerLink="/</a:t>
            </a: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sym typeface="+mn-ea"/>
              </a:rPr>
              <a:t>pathA</a:t>
            </a: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" </a:t>
            </a:r>
            <a:endParaRPr lang="en-US" sz="32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  <a:p>
            <a:pPr indent="0" algn="l">
              <a:lnSpc>
                <a:spcPct val="90000"/>
              </a:lnSpc>
              <a:spcBef>
                <a:spcPts val="300"/>
              </a:spcBef>
              <a:buFont typeface="Arial" panose="020B0604020202090204" pitchFamily="34" charset="0"/>
              <a:buNone/>
            </a:pP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	routerLinkActive="myCSS"&gt;</a:t>
            </a: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sym typeface="+mn-ea"/>
              </a:rPr>
              <a:t>My Other Link</a:t>
            </a: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&lt;/a&gt;</a:t>
            </a:r>
            <a:endParaRPr lang="en-US" sz="32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346835"/>
            <a:ext cx="11429999" cy="1338580"/>
          </a:xfrm>
        </p:spPr>
        <p:txBody>
          <a:bodyPr/>
          <a:lstStyle/>
          <a:p>
            <a:r>
              <a:rPr lang="en-US"/>
              <a:t>ActivatedRoute is an interface and it contains the information about a route associated with a component loaded into an outlet and it can also be used to traverse the router state tree</a:t>
            </a:r>
            <a:endParaRPr lang="en-US"/>
          </a:p>
          <a:p>
            <a:endParaRPr lang="en-US"/>
          </a:p>
          <a:p>
            <a:r>
              <a:rPr lang="en-US"/>
              <a:t>Activated route is imported from @angular/router pack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ActivatedRoute</a:t>
            </a:r>
            <a:endParaRPr lang="en-US">
              <a:sym typeface="+mn-ea"/>
            </a:endParaRPr>
          </a:p>
        </p:txBody>
      </p:sp>
      <p:sp>
        <p:nvSpPr>
          <p:cNvPr id="4" name="Text Box 3"/>
          <p:cNvSpPr txBox="1"/>
          <p:nvPr/>
        </p:nvSpPr>
        <p:spPr>
          <a:xfrm>
            <a:off x="502285" y="3128645"/>
            <a:ext cx="11309350" cy="8858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indent="0" algn="l">
              <a:lnSpc>
                <a:spcPct val="90000"/>
              </a:lnSpc>
              <a:spcBef>
                <a:spcPts val="300"/>
              </a:spcBef>
              <a:buFont typeface="Arial" panose="020B0604020202090204" pitchFamily="34" charset="0"/>
              <a:buNone/>
            </a:pPr>
            <a:r>
              <a:rPr lang="en-US" sz="32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constructor(public postsService: PostsService, public route: ActivatedRoute) {}</a:t>
            </a:r>
            <a:endParaRPr lang="en-US" sz="32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/>
        </p:nvSpPr>
        <p:spPr bwMode="auto">
          <a:xfrm>
            <a:off x="5639368" y="1325867"/>
            <a:ext cx="913263" cy="720000"/>
          </a:xfrm>
          <a:custGeom>
            <a:avLst/>
            <a:gdLst>
              <a:gd name="T0" fmla="*/ 1893 w 2098"/>
              <a:gd name="T1" fmla="*/ 980 h 1661"/>
              <a:gd name="T2" fmla="*/ 1743 w 2098"/>
              <a:gd name="T3" fmla="*/ 1661 h 1661"/>
              <a:gd name="T4" fmla="*/ 1062 w 2098"/>
              <a:gd name="T5" fmla="*/ 1661 h 1661"/>
              <a:gd name="T6" fmla="*/ 1191 w 2098"/>
              <a:gd name="T7" fmla="*/ 1066 h 1661"/>
              <a:gd name="T8" fmla="*/ 1538 w 2098"/>
              <a:gd name="T9" fmla="*/ 285 h 1661"/>
              <a:gd name="T10" fmla="*/ 2098 w 2098"/>
              <a:gd name="T11" fmla="*/ 0 h 1661"/>
              <a:gd name="T12" fmla="*/ 2045 w 2098"/>
              <a:gd name="T13" fmla="*/ 262 h 1661"/>
              <a:gd name="T14" fmla="*/ 1519 w 2098"/>
              <a:gd name="T15" fmla="*/ 980 h 1661"/>
              <a:gd name="T16" fmla="*/ 1893 w 2098"/>
              <a:gd name="T17" fmla="*/ 980 h 1661"/>
              <a:gd name="T18" fmla="*/ 831 w 2098"/>
              <a:gd name="T19" fmla="*/ 980 h 1661"/>
              <a:gd name="T20" fmla="*/ 681 w 2098"/>
              <a:gd name="T21" fmla="*/ 1661 h 1661"/>
              <a:gd name="T22" fmla="*/ 0 w 2098"/>
              <a:gd name="T23" fmla="*/ 1661 h 1661"/>
              <a:gd name="T24" fmla="*/ 129 w 2098"/>
              <a:gd name="T25" fmla="*/ 1066 h 1661"/>
              <a:gd name="T26" fmla="*/ 476 w 2098"/>
              <a:gd name="T27" fmla="*/ 285 h 1661"/>
              <a:gd name="T28" fmla="*/ 1036 w 2098"/>
              <a:gd name="T29" fmla="*/ 0 h 1661"/>
              <a:gd name="T30" fmla="*/ 983 w 2098"/>
              <a:gd name="T31" fmla="*/ 262 h 1661"/>
              <a:gd name="T32" fmla="*/ 457 w 2098"/>
              <a:gd name="T33" fmla="*/ 980 h 1661"/>
              <a:gd name="T34" fmla="*/ 831 w 2098"/>
              <a:gd name="T35" fmla="*/ 980 h 1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8" h="1661">
                <a:moveTo>
                  <a:pt x="1893" y="980"/>
                </a:moveTo>
                <a:lnTo>
                  <a:pt x="1743" y="1661"/>
                </a:lnTo>
                <a:lnTo>
                  <a:pt x="1062" y="1661"/>
                </a:lnTo>
                <a:lnTo>
                  <a:pt x="1191" y="1066"/>
                </a:lnTo>
                <a:cubicBezTo>
                  <a:pt x="1264" y="710"/>
                  <a:pt x="1380" y="451"/>
                  <a:pt x="1538" y="285"/>
                </a:cubicBezTo>
                <a:cubicBezTo>
                  <a:pt x="1696" y="119"/>
                  <a:pt x="1882" y="24"/>
                  <a:pt x="2098" y="0"/>
                </a:cubicBezTo>
                <a:lnTo>
                  <a:pt x="2045" y="262"/>
                </a:lnTo>
                <a:cubicBezTo>
                  <a:pt x="1785" y="333"/>
                  <a:pt x="1610" y="572"/>
                  <a:pt x="1519" y="980"/>
                </a:cubicBezTo>
                <a:lnTo>
                  <a:pt x="1893" y="980"/>
                </a:lnTo>
                <a:close/>
                <a:moveTo>
                  <a:pt x="831" y="980"/>
                </a:moveTo>
                <a:lnTo>
                  <a:pt x="681" y="1661"/>
                </a:lnTo>
                <a:lnTo>
                  <a:pt x="0" y="1661"/>
                </a:lnTo>
                <a:lnTo>
                  <a:pt x="129" y="1066"/>
                </a:lnTo>
                <a:cubicBezTo>
                  <a:pt x="202" y="710"/>
                  <a:pt x="318" y="451"/>
                  <a:pt x="476" y="285"/>
                </a:cubicBezTo>
                <a:cubicBezTo>
                  <a:pt x="634" y="119"/>
                  <a:pt x="820" y="24"/>
                  <a:pt x="1036" y="0"/>
                </a:cubicBezTo>
                <a:lnTo>
                  <a:pt x="983" y="262"/>
                </a:lnTo>
                <a:cubicBezTo>
                  <a:pt x="723" y="333"/>
                  <a:pt x="548" y="572"/>
                  <a:pt x="457" y="980"/>
                </a:cubicBezTo>
                <a:lnTo>
                  <a:pt x="831" y="98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/>
          </a:p>
        </p:txBody>
      </p:sp>
      <p:sp>
        <p:nvSpPr>
          <p:cNvPr id="31" name="Freeform 5"/>
          <p:cNvSpPr>
            <a:spLocks noChangeAspect="1" noEditPoints="1"/>
          </p:cNvSpPr>
          <p:nvPr/>
        </p:nvSpPr>
        <p:spPr bwMode="auto">
          <a:xfrm flipH="1" flipV="1">
            <a:off x="5639368" y="4812133"/>
            <a:ext cx="913263" cy="720000"/>
          </a:xfrm>
          <a:custGeom>
            <a:avLst/>
            <a:gdLst>
              <a:gd name="T0" fmla="*/ 1893 w 2098"/>
              <a:gd name="T1" fmla="*/ 980 h 1661"/>
              <a:gd name="T2" fmla="*/ 1743 w 2098"/>
              <a:gd name="T3" fmla="*/ 1661 h 1661"/>
              <a:gd name="T4" fmla="*/ 1062 w 2098"/>
              <a:gd name="T5" fmla="*/ 1661 h 1661"/>
              <a:gd name="T6" fmla="*/ 1191 w 2098"/>
              <a:gd name="T7" fmla="*/ 1066 h 1661"/>
              <a:gd name="T8" fmla="*/ 1538 w 2098"/>
              <a:gd name="T9" fmla="*/ 285 h 1661"/>
              <a:gd name="T10" fmla="*/ 2098 w 2098"/>
              <a:gd name="T11" fmla="*/ 0 h 1661"/>
              <a:gd name="T12" fmla="*/ 2045 w 2098"/>
              <a:gd name="T13" fmla="*/ 262 h 1661"/>
              <a:gd name="T14" fmla="*/ 1519 w 2098"/>
              <a:gd name="T15" fmla="*/ 980 h 1661"/>
              <a:gd name="T16" fmla="*/ 1893 w 2098"/>
              <a:gd name="T17" fmla="*/ 980 h 1661"/>
              <a:gd name="T18" fmla="*/ 831 w 2098"/>
              <a:gd name="T19" fmla="*/ 980 h 1661"/>
              <a:gd name="T20" fmla="*/ 681 w 2098"/>
              <a:gd name="T21" fmla="*/ 1661 h 1661"/>
              <a:gd name="T22" fmla="*/ 0 w 2098"/>
              <a:gd name="T23" fmla="*/ 1661 h 1661"/>
              <a:gd name="T24" fmla="*/ 129 w 2098"/>
              <a:gd name="T25" fmla="*/ 1066 h 1661"/>
              <a:gd name="T26" fmla="*/ 476 w 2098"/>
              <a:gd name="T27" fmla="*/ 285 h 1661"/>
              <a:gd name="T28" fmla="*/ 1036 w 2098"/>
              <a:gd name="T29" fmla="*/ 0 h 1661"/>
              <a:gd name="T30" fmla="*/ 983 w 2098"/>
              <a:gd name="T31" fmla="*/ 262 h 1661"/>
              <a:gd name="T32" fmla="*/ 457 w 2098"/>
              <a:gd name="T33" fmla="*/ 980 h 1661"/>
              <a:gd name="T34" fmla="*/ 831 w 2098"/>
              <a:gd name="T35" fmla="*/ 980 h 1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8" h="1661">
                <a:moveTo>
                  <a:pt x="1893" y="980"/>
                </a:moveTo>
                <a:lnTo>
                  <a:pt x="1743" y="1661"/>
                </a:lnTo>
                <a:lnTo>
                  <a:pt x="1062" y="1661"/>
                </a:lnTo>
                <a:lnTo>
                  <a:pt x="1191" y="1066"/>
                </a:lnTo>
                <a:cubicBezTo>
                  <a:pt x="1264" y="710"/>
                  <a:pt x="1380" y="451"/>
                  <a:pt x="1538" y="285"/>
                </a:cubicBezTo>
                <a:cubicBezTo>
                  <a:pt x="1696" y="119"/>
                  <a:pt x="1882" y="24"/>
                  <a:pt x="2098" y="0"/>
                </a:cubicBezTo>
                <a:lnTo>
                  <a:pt x="2045" y="262"/>
                </a:lnTo>
                <a:cubicBezTo>
                  <a:pt x="1785" y="333"/>
                  <a:pt x="1610" y="572"/>
                  <a:pt x="1519" y="980"/>
                </a:cubicBezTo>
                <a:lnTo>
                  <a:pt x="1893" y="980"/>
                </a:lnTo>
                <a:close/>
                <a:moveTo>
                  <a:pt x="831" y="980"/>
                </a:moveTo>
                <a:lnTo>
                  <a:pt x="681" y="1661"/>
                </a:lnTo>
                <a:lnTo>
                  <a:pt x="0" y="1661"/>
                </a:lnTo>
                <a:lnTo>
                  <a:pt x="129" y="1066"/>
                </a:lnTo>
                <a:cubicBezTo>
                  <a:pt x="202" y="710"/>
                  <a:pt x="318" y="451"/>
                  <a:pt x="476" y="285"/>
                </a:cubicBezTo>
                <a:cubicBezTo>
                  <a:pt x="634" y="119"/>
                  <a:pt x="820" y="24"/>
                  <a:pt x="1036" y="0"/>
                </a:cubicBezTo>
                <a:lnTo>
                  <a:pt x="983" y="262"/>
                </a:lnTo>
                <a:cubicBezTo>
                  <a:pt x="723" y="333"/>
                  <a:pt x="548" y="572"/>
                  <a:pt x="457" y="980"/>
                </a:cubicBezTo>
                <a:lnTo>
                  <a:pt x="831" y="98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/>
          </a:p>
        </p:txBody>
      </p:sp>
      <p:sp>
        <p:nvSpPr>
          <p:cNvPr id="32" name="Title 2"/>
          <p:cNvSpPr txBox="1"/>
          <p:nvPr/>
        </p:nvSpPr>
        <p:spPr>
          <a:xfrm>
            <a:off x="761998" y="3171825"/>
            <a:ext cx="10668002" cy="514350"/>
          </a:xfrm>
          <a:prstGeom prst="rect">
            <a:avLst/>
          </a:prstGeom>
        </p:spPr>
        <p:txBody>
          <a:bodyPr wrap="square" lIns="0" tIns="72000" rIns="0" bIns="0" anchor="ctr" anchorCtr="0">
            <a:spAutoFit/>
          </a:bodyPr>
          <a:lstStyle>
            <a:lvl1pPr marL="0" indent="0" algn="l" defTabSz="91376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  <a:spcBef>
                <a:spcPts val="900"/>
              </a:spcBef>
            </a:pP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Thank you</a:t>
            </a:r>
            <a:endParaRPr lang="en-US" dirty="0">
              <a:solidFill>
                <a:schemeClr val="tx1"/>
              </a:solidFill>
              <a:latin typeface="Graphik Black" panose="020B0A03030202060203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p>
            <a:fld id="{B3561BA9-CDCF-4958-B8AB-66F3BF063E13}" type="slidenum">
              <a:rPr lang="en-US" smtClean="0"/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67205" y="832485"/>
            <a:ext cx="8248650" cy="426148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280795"/>
            <a:ext cx="9649460" cy="3623945"/>
          </a:xfrm>
        </p:spPr>
        <p:txBody>
          <a:bodyPr wrap="square"/>
          <a:lstStyle/>
          <a:p>
            <a:r>
              <a:rPr lang="en-US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Add routing to the app</a:t>
            </a:r>
            <a:br>
              <a:rPr lang="en-US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</a:br>
            <a:endParaRPr lang="en-US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Routes</a:t>
            </a:r>
            <a:br>
              <a:rPr lang="en-US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</a:br>
            <a:endParaRPr lang="en-US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Styling links</a:t>
            </a:r>
            <a:br>
              <a:rPr lang="en-US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</a:br>
            <a:endParaRPr lang="en-US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Client side vs server side routing</a:t>
            </a:r>
            <a:br>
              <a:rPr lang="en-US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</a:br>
            <a:endParaRPr lang="en-US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Adding Edit post functionality</a:t>
            </a:r>
            <a:br>
              <a:rPr lang="en-US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</a:br>
            <a:endParaRPr lang="en-US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Few Enhancements</a:t>
            </a:r>
            <a:endParaRPr lang="en-US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Agenda</a:t>
            </a:r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289050"/>
            <a:ext cx="5485130" cy="3947160"/>
          </a:xfrm>
        </p:spPr>
        <p:txBody>
          <a:bodyPr wrap="square"/>
          <a:lstStyle/>
          <a:p>
            <a:r>
              <a:rPr lang="en-US"/>
              <a:t>Angular router is a core part of the Angular platform. </a:t>
            </a:r>
            <a:br>
              <a:rPr lang="en-US"/>
            </a:br>
            <a:endParaRPr lang="en-US"/>
          </a:p>
          <a:p>
            <a:r>
              <a:rPr lang="en-US"/>
              <a:t>It is a powerful JavaScript route built and maintained by the Angular core team that can be installed from the @angular/router package.</a:t>
            </a:r>
            <a:endParaRPr lang="en-US"/>
          </a:p>
          <a:p>
            <a:endParaRPr lang="en-US"/>
          </a:p>
          <a:p>
            <a:r>
              <a:rPr lang="en-US">
                <a:sym typeface="+mn-ea"/>
              </a:rPr>
              <a:t>It allows developers to build Single Page Applications with multiple states and views using routes and components and allows client side navigation and routing between the various components.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Routing with Angular router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800725" y="1962785"/>
            <a:ext cx="6215380" cy="237109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256030"/>
            <a:ext cx="7284085" cy="3115945"/>
          </a:xfrm>
        </p:spPr>
        <p:txBody>
          <a:bodyPr wrap="square"/>
          <a:lstStyle/>
          <a:p>
            <a:r>
              <a:rPr lang="en-US"/>
              <a:t>In Angular, a route is a JavaScript object  that provides information about which URL maps to which component.</a:t>
            </a:r>
            <a:br>
              <a:rPr lang="en-US"/>
            </a:br>
            <a:endParaRPr lang="en-US"/>
          </a:p>
          <a:p>
            <a:r>
              <a:rPr lang="en-US">
                <a:sym typeface="+mn-ea"/>
              </a:rPr>
              <a:t>A route is defined a JS object of type </a:t>
            </a:r>
            <a:r>
              <a:rPr lang="en-US" b="1" dirty="0" err="1" smtClean="0">
                <a:sym typeface="+mn-ea"/>
              </a:rPr>
              <a:t>Routes </a:t>
            </a:r>
            <a:r>
              <a:rPr lang="en-US" dirty="0" err="1" smtClean="0">
                <a:sym typeface="+mn-ea"/>
              </a:rPr>
              <a:t>and is imported from </a:t>
            </a:r>
            <a:r>
              <a:rPr lang="en-US" b="1" dirty="0" err="1" smtClean="0">
                <a:sym typeface="+mn-ea"/>
              </a:rPr>
              <a:t>@angular/router</a:t>
            </a:r>
            <a:br>
              <a:rPr lang="en-US"/>
            </a:br>
            <a:br>
              <a:rPr lang="en-US"/>
            </a:br>
            <a:r>
              <a:rPr lang="en-US"/>
              <a:t> </a:t>
            </a:r>
            <a:endParaRPr lang="en-US"/>
          </a:p>
          <a:p>
            <a:endParaRPr lang="en-US"/>
          </a:p>
          <a:p>
            <a:r>
              <a:rPr lang="en-US"/>
              <a:t>A collection of routes defines the router configuration for the app.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What are routes in Angular?</a:t>
            </a:r>
            <a:br>
              <a:rPr lang="en-US"/>
            </a:b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787640" y="1256030"/>
            <a:ext cx="3905250" cy="2981325"/>
          </a:xfrm>
          <a:prstGeom prst="rect">
            <a:avLst/>
          </a:prstGeom>
        </p:spPr>
      </p:pic>
      <p:sp>
        <p:nvSpPr>
          <p:cNvPr id="6" name="Text Box 5"/>
          <p:cNvSpPr txBox="1"/>
          <p:nvPr/>
        </p:nvSpPr>
        <p:spPr>
          <a:xfrm>
            <a:off x="381000" y="2997200"/>
            <a:ext cx="7406640" cy="3867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indent="0" algn="l">
              <a:lnSpc>
                <a:spcPct val="90000"/>
              </a:lnSpc>
              <a:spcBef>
                <a:spcPts val="300"/>
              </a:spcBef>
              <a:buFont typeface="Arial" panose="020B0604020202090204" pitchFamily="34" charset="0"/>
              <a:buNone/>
            </a:pPr>
            <a:r>
              <a:rPr lang="en-US" sz="2800" dirty="0" err="1" smtClean="0">
                <a:pattFill prst="dkUpDiag">
                  <a:fgClr>
                    <a:schemeClr val="bg1">
                      <a:lumMod val="50000"/>
                    </a:schemeClr>
                  </a:fgClr>
                  <a:bgClr>
                    <a:schemeClr val="tx1">
                      <a:lumMod val="75000"/>
                      <a:lumOff val="25000"/>
                    </a:schemeClr>
                  </a:bgClr>
                </a:pattFill>
                <a:effectLst>
                  <a:outerShdw blurRad="38100" dist="19050" dir="2700000" algn="tl" rotWithShape="0">
                    <a:schemeClr val="dk1">
                      <a:alpha val="40000"/>
                      <a:lumMod val="50000"/>
                    </a:schemeClr>
                  </a:outerShdw>
                </a:effectLst>
              </a:rPr>
              <a:t>import { Routes } from '@angular/router';</a:t>
            </a:r>
            <a:endParaRPr lang="en-US" sz="2800" dirty="0" err="1" smtClean="0">
              <a:pattFill prst="dkUpDiag">
                <a:fgClr>
                  <a:schemeClr val="bg1">
                    <a:lumMod val="50000"/>
                  </a:schemeClr>
                </a:fgClr>
                <a:bgClr>
                  <a:schemeClr val="tx1">
                    <a:lumMod val="75000"/>
                    <a:lumOff val="25000"/>
                  </a:schemeClr>
                </a:bgClr>
              </a:pattFill>
              <a:effectLst>
                <a:outerShdw blurRad="38100" dist="19050" dir="2700000" algn="tl" rotWithShape="0">
                  <a:schemeClr val="dk1">
                    <a:alpha val="40000"/>
                    <a:lumMod val="50000"/>
                  </a:schemeClr>
                </a:outerShdw>
              </a:effectLst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280795"/>
            <a:ext cx="9649460" cy="2954655"/>
          </a:xfrm>
        </p:spPr>
        <p:txBody>
          <a:bodyPr wrap="square"/>
          <a:lstStyle/>
          <a:p>
            <a:r>
              <a:rPr lang="en-US"/>
              <a:t>Configure a route for each component</a:t>
            </a:r>
            <a:br>
              <a:rPr lang="en-US"/>
            </a:br>
            <a:endParaRPr lang="en-US"/>
          </a:p>
          <a:p>
            <a:r>
              <a:rPr lang="en-US"/>
              <a:t>Define the options or actions for the user</a:t>
            </a:r>
            <a:br>
              <a:rPr lang="en-US"/>
            </a:br>
            <a:endParaRPr lang="en-US"/>
          </a:p>
          <a:p>
            <a:r>
              <a:rPr lang="en-US"/>
              <a:t>Link a route to an option or action</a:t>
            </a:r>
            <a:br>
              <a:rPr lang="en-US"/>
            </a:br>
            <a:endParaRPr lang="en-US"/>
          </a:p>
          <a:p>
            <a:r>
              <a:rPr lang="en-US"/>
              <a:t>Trigger the route based on user action (clicks)</a:t>
            </a:r>
            <a:br>
              <a:rPr lang="en-US"/>
            </a:br>
            <a:endParaRPr lang="en-US"/>
          </a:p>
          <a:p>
            <a:r>
              <a:rPr lang="en-US"/>
              <a:t>When a route is activated, the component view is displayed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Setup routing in angular</a:t>
            </a: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189990"/>
            <a:ext cx="11429999" cy="946150"/>
          </a:xfrm>
        </p:spPr>
        <p:txBody>
          <a:bodyPr/>
          <a:lstStyle/>
          <a:p>
            <a:r>
              <a:rPr lang="en-US"/>
              <a:t>The RouterModule is imported by @angular/router and helps us with angular routing.</a:t>
            </a:r>
            <a:br>
              <a:rPr lang="en-US"/>
            </a:br>
            <a:endParaRPr lang="en-US"/>
          </a:p>
          <a:p>
            <a:r>
              <a:rPr lang="en-US"/>
              <a:t>It enables Angular router and is able to handle route configs to enable routing.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718185"/>
          </a:xfrm>
        </p:spPr>
        <p:txBody>
          <a:bodyPr/>
          <a:lstStyle/>
          <a:p>
            <a:r>
              <a:rPr lang="en-US">
                <a:sym typeface="+mn-ea"/>
              </a:rPr>
              <a:t>Router Module</a:t>
            </a:r>
            <a:endParaRPr lang="en-US">
              <a:sym typeface="+mn-ea"/>
            </a:endParaRPr>
          </a:p>
        </p:txBody>
      </p:sp>
      <p:sp>
        <p:nvSpPr>
          <p:cNvPr id="4" name="Text Box 3"/>
          <p:cNvSpPr txBox="1"/>
          <p:nvPr/>
        </p:nvSpPr>
        <p:spPr>
          <a:xfrm>
            <a:off x="1308100" y="3086100"/>
            <a:ext cx="9690735" cy="4425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p>
            <a:pPr indent="0" algn="l">
              <a:lnSpc>
                <a:spcPct val="90000"/>
              </a:lnSpc>
              <a:spcBef>
                <a:spcPts val="300"/>
              </a:spcBef>
              <a:buFont typeface="Arial" panose="020B0604020202090204" pitchFamily="34" charset="0"/>
              <a:buNone/>
            </a:pPr>
            <a:r>
              <a:rPr lang="en-US" sz="3200" dirty="0" err="1" smtClean="0">
                <a:pattFill prst="dkUpDiag">
                  <a:fgClr>
                    <a:schemeClr val="bg1">
                      <a:lumMod val="50000"/>
                    </a:schemeClr>
                  </a:fgClr>
                  <a:bgClr>
                    <a:schemeClr val="tx1">
                      <a:lumMod val="75000"/>
                      <a:lumOff val="25000"/>
                    </a:schemeClr>
                  </a:bgClr>
                </a:pattFill>
                <a:effectLst>
                  <a:outerShdw blurRad="38100" dist="19050" dir="2700000" algn="tl" rotWithShape="0">
                    <a:schemeClr val="dk1">
                      <a:alpha val="40000"/>
                      <a:lumMod val="50000"/>
                    </a:schemeClr>
                  </a:outerShdw>
                </a:effectLst>
              </a:rPr>
              <a:t>import { RouterModule } from '@angular/router';</a:t>
            </a:r>
            <a:endParaRPr lang="en-US" sz="3200" dirty="0" err="1" smtClean="0">
              <a:pattFill prst="dkUpDiag">
                <a:fgClr>
                  <a:schemeClr val="bg1">
                    <a:lumMod val="50000"/>
                  </a:schemeClr>
                </a:fgClr>
                <a:bgClr>
                  <a:schemeClr val="tx1">
                    <a:lumMod val="75000"/>
                    <a:lumOff val="25000"/>
                  </a:schemeClr>
                </a:bgClr>
              </a:pattFill>
              <a:effectLst>
                <a:outerShdw blurRad="38100" dist="19050" dir="2700000" algn="tl" rotWithShape="0">
                  <a:schemeClr val="dk1">
                    <a:alpha val="40000"/>
                    <a:lumMod val="50000"/>
                  </a:schemeClr>
                </a:outerShdw>
              </a:effectLst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256030"/>
            <a:ext cx="10766425" cy="3056890"/>
          </a:xfrm>
        </p:spPr>
        <p:txBody>
          <a:bodyPr wrap="square"/>
          <a:lstStyle/>
          <a:p>
            <a:r>
              <a:rPr lang="en-US">
                <a:sym typeface="+mn-ea"/>
              </a:rPr>
              <a:t>Every route has a predefined structure.</a:t>
            </a:r>
            <a:r>
              <a:rPr lang="en-US" b="1" dirty="0" err="1" smtClean="0">
                <a:sym typeface="+mn-ea"/>
              </a:rPr>
              <a:t> </a:t>
            </a:r>
            <a:r>
              <a:rPr lang="en-US" dirty="0" err="1" smtClean="0">
                <a:sym typeface="+mn-ea"/>
              </a:rPr>
              <a:t>In its simplest form, it consists of</a:t>
            </a:r>
            <a:endParaRPr lang="en-US" dirty="0" err="1" smtClean="0">
              <a:sym typeface="+mn-ea"/>
            </a:endParaRPr>
          </a:p>
          <a:p>
            <a:pPr lvl="1"/>
            <a:r>
              <a:rPr lang="en-US" dirty="0" err="1" smtClean="0">
                <a:sym typeface="+mn-ea"/>
              </a:rPr>
              <a:t>path</a:t>
            </a:r>
            <a:endParaRPr lang="en-US" dirty="0" err="1" smtClean="0">
              <a:sym typeface="+mn-ea"/>
            </a:endParaRPr>
          </a:p>
          <a:p>
            <a:pPr lvl="1"/>
            <a:r>
              <a:rPr lang="en-US" dirty="0" err="1" smtClean="0">
                <a:sym typeface="+mn-ea"/>
              </a:rPr>
              <a:t>component</a:t>
            </a:r>
            <a:br>
              <a:rPr lang="en-US" b="1" dirty="0" err="1" smtClean="0">
                <a:sym typeface="+mn-ea"/>
              </a:rPr>
            </a:br>
            <a:endParaRPr lang="en-US"/>
          </a:p>
          <a:p>
            <a:r>
              <a:rPr lang="en-US" b="1"/>
              <a:t>Path </a:t>
            </a:r>
            <a:r>
              <a:rPr lang="en-US"/>
              <a:t>is the fragment of a URL that determines where exactly is located the resource (or page) you want to access. </a:t>
            </a:r>
            <a:endParaRPr lang="en-US"/>
          </a:p>
          <a:p>
            <a:endParaRPr lang="en-US"/>
          </a:p>
          <a:p>
            <a:r>
              <a:rPr lang="en-US"/>
              <a:t>Component defines which component to load when the associated path is hit.</a:t>
            </a: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Structure of routes</a:t>
            </a:r>
            <a:endParaRPr lang="en-US" dirty="0"/>
          </a:p>
        </p:txBody>
      </p:sp>
      <p:sp>
        <p:nvSpPr>
          <p:cNvPr id="5" name="Text Box 4"/>
          <p:cNvSpPr txBox="1"/>
          <p:nvPr/>
        </p:nvSpPr>
        <p:spPr>
          <a:xfrm>
            <a:off x="381000" y="4622165"/>
            <a:ext cx="10766425" cy="18141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  <a:scene3d>
              <a:camera prst="orthographicFront"/>
              <a:lightRig rig="threePt" dir="t"/>
            </a:scene3d>
          </a:bodyPr>
          <a:p>
            <a:pPr indent="0" algn="l">
              <a:lnSpc>
                <a:spcPct val="90000"/>
              </a:lnSpc>
              <a:spcBef>
                <a:spcPts val="300"/>
              </a:spcBef>
              <a:buNone/>
            </a:pP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const routes: </a:t>
            </a:r>
            <a:r>
              <a:rPr lang="en-US" sz="2400" b="1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Routes </a:t>
            </a: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= [</a:t>
            </a:r>
            <a:endParaRPr lang="en-US" sz="24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  <a:p>
            <a:pPr indent="0" algn="l">
              <a:lnSpc>
                <a:spcPct val="90000"/>
              </a:lnSpc>
              <a:spcBef>
                <a:spcPts val="300"/>
              </a:spcBef>
              <a:buNone/>
            </a:pP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  { 	path: '',  		component: MyComponent},</a:t>
            </a:r>
            <a:endParaRPr lang="en-US" sz="24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  <a:p>
            <a:pPr indent="0" algn="l">
              <a:lnSpc>
                <a:spcPct val="90000"/>
              </a:lnSpc>
              <a:spcBef>
                <a:spcPts val="300"/>
              </a:spcBef>
              <a:buNone/>
            </a:pP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  { 	path: 'pathA', 	component: </a:t>
            </a: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sym typeface="+mn-ea"/>
              </a:rPr>
              <a:t>MyOtherComponent</a:t>
            </a: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},</a:t>
            </a:r>
            <a:endParaRPr lang="en-US" sz="24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  <a:p>
            <a:pPr indent="0" algn="l">
              <a:lnSpc>
                <a:spcPct val="90000"/>
              </a:lnSpc>
              <a:spcBef>
                <a:spcPts val="300"/>
              </a:spcBef>
              <a:buNone/>
            </a:pP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  { 	path: '</a:t>
            </a: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sym typeface="+mn-ea"/>
              </a:rPr>
              <a:t>pathA</a:t>
            </a: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/:id, 	component: </a:t>
            </a: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sym typeface="+mn-ea"/>
              </a:rPr>
              <a:t>SomeOtherComponent</a:t>
            </a: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}</a:t>
            </a:r>
            <a:endParaRPr lang="en-US" sz="24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  <a:p>
            <a:pPr indent="0" algn="l">
              <a:lnSpc>
                <a:spcPct val="90000"/>
              </a:lnSpc>
              <a:spcBef>
                <a:spcPts val="300"/>
              </a:spcBef>
              <a:buNone/>
            </a:pP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];</a:t>
            </a:r>
            <a:endParaRPr lang="en-US" sz="24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256030"/>
            <a:ext cx="10766425" cy="2400300"/>
          </a:xfrm>
        </p:spPr>
        <p:txBody>
          <a:bodyPr wrap="square"/>
          <a:lstStyle/>
          <a:p>
            <a:r>
              <a:rPr lang="en-US">
                <a:sym typeface="+mn-ea"/>
              </a:rPr>
              <a:t>Once the route is defined, we need to register the route object with Angular.</a:t>
            </a:r>
            <a:br>
              <a:rPr lang="en-US" b="1" dirty="0" err="1" smtClean="0">
                <a:sym typeface="+mn-ea"/>
              </a:rPr>
            </a:br>
            <a:endParaRPr lang="en-US"/>
          </a:p>
          <a:p>
            <a:r>
              <a:rPr lang="en-US"/>
              <a:t>We import RouterModule into the AppRoutingModule and register the routes defined.</a:t>
            </a:r>
            <a:endParaRPr lang="en-US"/>
          </a:p>
          <a:p>
            <a:pPr marL="0" indent="0">
              <a:buNone/>
            </a:pPr>
            <a:endParaRPr lang="en-US"/>
          </a:p>
          <a:p>
            <a:r>
              <a:rPr lang="en-US"/>
              <a:t>We then export it from routing module to be then imported by the main module for the app </a:t>
            </a:r>
            <a:r>
              <a:rPr lang="en-US" b="1"/>
              <a:t>AppModule</a:t>
            </a:r>
            <a:r>
              <a:rPr lang="en-US"/>
              <a:t>.</a:t>
            </a: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Registering Routes for the app</a:t>
            </a:r>
            <a:endParaRPr lang="en-US" dirty="0"/>
          </a:p>
        </p:txBody>
      </p:sp>
      <p:sp>
        <p:nvSpPr>
          <p:cNvPr id="5" name="Text Box 4"/>
          <p:cNvSpPr txBox="1"/>
          <p:nvPr/>
        </p:nvSpPr>
        <p:spPr>
          <a:xfrm>
            <a:off x="381000" y="4032885"/>
            <a:ext cx="10766425" cy="18141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  <a:scene3d>
              <a:camera prst="orthographicFront"/>
              <a:lightRig rig="threePt" dir="t"/>
            </a:scene3d>
          </a:bodyPr>
          <a:p>
            <a:pPr lvl="3" indent="0" algn="l">
              <a:lnSpc>
                <a:spcPct val="90000"/>
              </a:lnSpc>
              <a:spcBef>
                <a:spcPts val="300"/>
              </a:spcBef>
              <a:buNone/>
            </a:pP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@NgModule({</a:t>
            </a:r>
            <a:endParaRPr lang="en-US" sz="24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  <a:p>
            <a:pPr lvl="3" indent="0" algn="l">
              <a:lnSpc>
                <a:spcPct val="90000"/>
              </a:lnSpc>
              <a:spcBef>
                <a:spcPts val="300"/>
              </a:spcBef>
              <a:buNone/>
            </a:pP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  imports: 	[RouterModule.forRoot(routes)],</a:t>
            </a:r>
            <a:endParaRPr lang="en-US" sz="24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  <a:p>
            <a:pPr lvl="3" indent="0" algn="l">
              <a:lnSpc>
                <a:spcPct val="90000"/>
              </a:lnSpc>
              <a:spcBef>
                <a:spcPts val="300"/>
              </a:spcBef>
              <a:buNone/>
            </a:pP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  exports: 	[RouterModule]</a:t>
            </a:r>
            <a:endParaRPr lang="en-US" sz="24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  <a:p>
            <a:pPr lvl="3" indent="0" algn="l">
              <a:lnSpc>
                <a:spcPct val="90000"/>
              </a:lnSpc>
              <a:spcBef>
                <a:spcPts val="300"/>
              </a:spcBef>
              <a:buNone/>
            </a:pP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})</a:t>
            </a:r>
            <a:endParaRPr lang="en-US" sz="24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  <a:p>
            <a:pPr lvl="3" indent="0" algn="l">
              <a:lnSpc>
                <a:spcPct val="90000"/>
              </a:lnSpc>
              <a:spcBef>
                <a:spcPts val="300"/>
              </a:spcBef>
              <a:buNone/>
            </a:pPr>
            <a:r>
              <a:rPr lang="en-US" sz="2400" dirty="0" err="1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export class AppRoutingModule { }</a:t>
            </a:r>
            <a:endParaRPr lang="en-US" sz="2400" dirty="0" err="1" smtClean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00000_Acc_Engl">
  <a:themeElements>
    <a:clrScheme name="Custom 9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004DFF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90204" pitchFamily="34" charset="0"/>
          <a:buChar char="•"/>
          <a:defRPr sz="1400" dirty="0" err="1" smtClean="0"/>
        </a:defPPr>
      </a:lstStyle>
    </a:txDef>
  </a:objectDefaults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AN_NE_Training</Template>
  <TotalTime>0</TotalTime>
  <Words>3397</Words>
  <Application>WPS Writer</Application>
  <PresentationFormat>Widescreen</PresentationFormat>
  <Paragraphs>107</Paragraphs>
  <Slides>14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6" baseType="lpstr">
      <vt:lpstr>Arial</vt:lpstr>
      <vt:lpstr>SimSun</vt:lpstr>
      <vt:lpstr>Wingdings</vt:lpstr>
      <vt:lpstr>Graphik Black</vt:lpstr>
      <vt:lpstr>PingFang SC</vt:lpstr>
      <vt:lpstr>Graphik</vt:lpstr>
      <vt:lpstr>Arial Black</vt:lpstr>
      <vt:lpstr>微软雅黑</vt:lpstr>
      <vt:lpstr>Arial Unicode MS</vt:lpstr>
      <vt:lpstr>Songti SC</vt:lpstr>
      <vt:lpstr>CA00000_Acc_Engl</vt:lpstr>
      <vt:lpstr>TCLayout.ActiveDocument.1</vt:lpstr>
      <vt:lpstr>PowerPoint 演示文稿</vt:lpstr>
      <vt:lpstr>PowerPoint 演示文稿</vt:lpstr>
      <vt:lpstr>Setup routing in angular</vt:lpstr>
      <vt:lpstr>Routing with Angular router</vt:lpstr>
      <vt:lpstr>What are routes in Angular? </vt:lpstr>
      <vt:lpstr>Setup routing in angular</vt:lpstr>
      <vt:lpstr>Router Module</vt:lpstr>
      <vt:lpstr>Structure of routes</vt:lpstr>
      <vt:lpstr>Registering Routes for the app</vt:lpstr>
      <vt:lpstr>Router Outlet</vt:lpstr>
      <vt:lpstr>Creating Router links in Angular </vt:lpstr>
      <vt:lpstr>routerLinkActive</vt:lpstr>
      <vt:lpstr>routerLinkActive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AN Stack</dc:title>
  <dc:creator>Ajith Kumar A M</dc:creator>
  <dc:subject>CSB</dc:subject>
  <cp:lastModifiedBy>jathindevaiah</cp:lastModifiedBy>
  <cp:revision>44</cp:revision>
  <dcterms:created xsi:type="dcterms:W3CDTF">2020-05-08T12:14:30Z</dcterms:created>
  <dcterms:modified xsi:type="dcterms:W3CDTF">2020-05-08T12:1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AEE4454DBAFD4FA47858D8EAD29F27</vt:lpwstr>
  </property>
  <property fmtid="{D5CDD505-2E9C-101B-9397-08002B2CF9AE}" pid="3" name="KSOProductBuildVer">
    <vt:lpwstr>1033-2.1.1.3493</vt:lpwstr>
  </property>
</Properties>
</file>